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10"/>
  </p:notesMasterIdLst>
  <p:handoutMasterIdLst>
    <p:handoutMasterId r:id="rId11"/>
  </p:handoutMasterIdLst>
  <p:sldIdLst>
    <p:sldId id="256" r:id="rId5"/>
    <p:sldId id="1609" r:id="rId6"/>
    <p:sldId id="1610" r:id="rId7"/>
    <p:sldId id="1611" r:id="rId8"/>
    <p:sldId id="2149"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BF6DE"/>
    <a:srgbClr val="D3EFCE"/>
    <a:srgbClr val="E5F4D4"/>
    <a:srgbClr val="3075FF"/>
    <a:srgbClr val="002060"/>
    <a:srgbClr val="9BEB99"/>
    <a:srgbClr val="ADAFBB"/>
    <a:srgbClr val="A3A5B3"/>
    <a:srgbClr val="CACB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D9588C-8C80-4564-A9B7-6896CB4671D8}" v="2" dt="2023-01-30T05:29:30.4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13" autoAdjust="0"/>
    <p:restoredTop sz="93840" autoAdjust="0"/>
  </p:normalViewPr>
  <p:slideViewPr>
    <p:cSldViewPr snapToGrid="0">
      <p:cViewPr varScale="1">
        <p:scale>
          <a:sx n="60" d="100"/>
          <a:sy n="60" d="100"/>
        </p:scale>
        <p:origin x="1144" y="44"/>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7D9588C-8C80-4564-A9B7-6896CB4671D8}"/>
    <pc:docChg chg="custSel addSld delSld modSld">
      <pc:chgData name="Aurelien Domont" userId="6da7715ce44349b3" providerId="LiveId" clId="{C7D9588C-8C80-4564-A9B7-6896CB4671D8}" dt="2023-01-30T05:29:31.757" v="4" actId="47"/>
      <pc:docMkLst>
        <pc:docMk/>
      </pc:docMkLst>
      <pc:sldChg chg="addSp delSp modSp mod">
        <pc:chgData name="Aurelien Domont" userId="6da7715ce44349b3" providerId="LiveId" clId="{C7D9588C-8C80-4564-A9B7-6896CB4671D8}" dt="2023-01-30T05:20:13.794" v="1"/>
        <pc:sldMkLst>
          <pc:docMk/>
          <pc:sldMk cId="3131901387" sldId="256"/>
        </pc:sldMkLst>
        <pc:picChg chg="del">
          <ac:chgData name="Aurelien Domont" userId="6da7715ce44349b3" providerId="LiveId" clId="{C7D9588C-8C80-4564-A9B7-6896CB4671D8}" dt="2023-01-30T05:20:13.549" v="0" actId="478"/>
          <ac:picMkLst>
            <pc:docMk/>
            <pc:sldMk cId="3131901387" sldId="256"/>
            <ac:picMk id="7" creationId="{56F6D9FE-2BD8-43FA-8517-544E7B92AA1A}"/>
          </ac:picMkLst>
        </pc:picChg>
        <pc:picChg chg="add mod">
          <ac:chgData name="Aurelien Domont" userId="6da7715ce44349b3" providerId="LiveId" clId="{C7D9588C-8C80-4564-A9B7-6896CB4671D8}" dt="2023-01-30T05:20:13.794" v="1"/>
          <ac:picMkLst>
            <pc:docMk/>
            <pc:sldMk cId="3131901387" sldId="256"/>
            <ac:picMk id="12" creationId="{4D0EE837-2A44-8DF0-A316-830C996B435B}"/>
          </ac:picMkLst>
        </pc:picChg>
      </pc:sldChg>
      <pc:sldChg chg="del">
        <pc:chgData name="Aurelien Domont" userId="6da7715ce44349b3" providerId="LiveId" clId="{C7D9588C-8C80-4564-A9B7-6896CB4671D8}" dt="2023-01-30T05:29:29.112" v="2" actId="47"/>
        <pc:sldMkLst>
          <pc:docMk/>
          <pc:sldMk cId="3242245624" sldId="296"/>
        </pc:sldMkLst>
      </pc:sldChg>
      <pc:sldChg chg="add del">
        <pc:chgData name="Aurelien Domont" userId="6da7715ce44349b3" providerId="LiveId" clId="{C7D9588C-8C80-4564-A9B7-6896CB4671D8}" dt="2023-01-30T05:29:31.757" v="4" actId="47"/>
        <pc:sldMkLst>
          <pc:docMk/>
          <pc:sldMk cId="1754585881" sldId="1598"/>
        </pc:sldMkLst>
      </pc:sldChg>
      <pc:sldChg chg="add">
        <pc:chgData name="Aurelien Domont" userId="6da7715ce44349b3" providerId="LiveId" clId="{C7D9588C-8C80-4564-A9B7-6896CB4671D8}" dt="2023-01-30T05:29:30.405" v="3"/>
        <pc:sldMkLst>
          <pc:docMk/>
          <pc:sldMk cId="1289725493" sldId="2149"/>
        </pc:sldMkLst>
      </pc:sldChg>
    </pc:docChg>
  </pc:docChgLst>
  <pc:docChgLst>
    <pc:chgData name="Aurelien Domont" userId="6da7715ce44349b3" providerId="LiveId" clId="{FC9F0652-F29C-4994-AA22-D8A7F4373039}"/>
    <pc:docChg chg="undo custSel addSld delSld modSld">
      <pc:chgData name="Aurelien Domont" userId="6da7715ce44349b3" providerId="LiveId" clId="{FC9F0652-F29C-4994-AA22-D8A7F4373039}" dt="2021-09-27T04:50:18.676" v="938" actId="1035"/>
      <pc:docMkLst>
        <pc:docMk/>
      </pc:docMkLst>
      <pc:sldChg chg="modSp mod">
        <pc:chgData name="Aurelien Domont" userId="6da7715ce44349b3" providerId="LiveId" clId="{FC9F0652-F29C-4994-AA22-D8A7F4373039}" dt="2021-09-27T04:42:59.895" v="739" actId="20577"/>
        <pc:sldMkLst>
          <pc:docMk/>
          <pc:sldMk cId="3131901387" sldId="256"/>
        </pc:sldMkLst>
        <pc:spChg chg="mod">
          <ac:chgData name="Aurelien Domont" userId="6da7715ce44349b3" providerId="LiveId" clId="{FC9F0652-F29C-4994-AA22-D8A7F4373039}" dt="2021-09-27T04:42:59.895" v="739" actId="20577"/>
          <ac:spMkLst>
            <pc:docMk/>
            <pc:sldMk cId="3131901387" sldId="256"/>
            <ac:spMk id="2" creationId="{5261080C-C60C-4746-B6B1-A9A4FFA86785}"/>
          </ac:spMkLst>
        </pc:spChg>
      </pc:sldChg>
      <pc:sldChg chg="del">
        <pc:chgData name="Aurelien Domont" userId="6da7715ce44349b3" providerId="LiveId" clId="{FC9F0652-F29C-4994-AA22-D8A7F4373039}" dt="2021-09-27T04:26:24.377" v="6" actId="47"/>
        <pc:sldMkLst>
          <pc:docMk/>
          <pc:sldMk cId="3156799195" sldId="293"/>
        </pc:sldMkLst>
      </pc:sldChg>
      <pc:sldChg chg="del">
        <pc:chgData name="Aurelien Domont" userId="6da7715ce44349b3" providerId="LiveId" clId="{FC9F0652-F29C-4994-AA22-D8A7F4373039}" dt="2021-09-27T04:26:26.276" v="8" actId="47"/>
        <pc:sldMkLst>
          <pc:docMk/>
          <pc:sldMk cId="605554773" sldId="1515"/>
        </pc:sldMkLst>
      </pc:sldChg>
      <pc:sldChg chg="modSp del mod">
        <pc:chgData name="Aurelien Domont" userId="6da7715ce44349b3" providerId="LiveId" clId="{FC9F0652-F29C-4994-AA22-D8A7F4373039}" dt="2021-09-27T04:43:13.766" v="751" actId="47"/>
        <pc:sldMkLst>
          <pc:docMk/>
          <pc:sldMk cId="3022188194" sldId="1518"/>
        </pc:sldMkLst>
        <pc:spChg chg="mod">
          <ac:chgData name="Aurelien Domont" userId="6da7715ce44349b3" providerId="LiveId" clId="{FC9F0652-F29C-4994-AA22-D8A7F4373039}" dt="2021-09-27T04:25:30.081" v="0"/>
          <ac:spMkLst>
            <pc:docMk/>
            <pc:sldMk cId="3022188194" sldId="1518"/>
            <ac:spMk id="18" creationId="{5714E95A-480E-44A6-9C6B-8E577094B451}"/>
          </ac:spMkLst>
        </pc:spChg>
        <pc:spChg chg="mod">
          <ac:chgData name="Aurelien Domont" userId="6da7715ce44349b3" providerId="LiveId" clId="{FC9F0652-F29C-4994-AA22-D8A7F4373039}" dt="2021-09-27T04:25:36.072" v="1"/>
          <ac:spMkLst>
            <pc:docMk/>
            <pc:sldMk cId="3022188194" sldId="1518"/>
            <ac:spMk id="25" creationId="{31B2B469-6C77-4E8E-913F-4D6148A073AE}"/>
          </ac:spMkLst>
        </pc:spChg>
        <pc:spChg chg="mod">
          <ac:chgData name="Aurelien Domont" userId="6da7715ce44349b3" providerId="LiveId" clId="{FC9F0652-F29C-4994-AA22-D8A7F4373039}" dt="2021-09-27T04:25:40.528" v="2"/>
          <ac:spMkLst>
            <pc:docMk/>
            <pc:sldMk cId="3022188194" sldId="1518"/>
            <ac:spMk id="26" creationId="{D547C259-6BD4-4048-86EB-353F61DD9806}"/>
          </ac:spMkLst>
        </pc:spChg>
        <pc:spChg chg="mod">
          <ac:chgData name="Aurelien Domont" userId="6da7715ce44349b3" providerId="LiveId" clId="{FC9F0652-F29C-4994-AA22-D8A7F4373039}" dt="2021-09-27T04:25:45.006" v="3"/>
          <ac:spMkLst>
            <pc:docMk/>
            <pc:sldMk cId="3022188194" sldId="1518"/>
            <ac:spMk id="27" creationId="{C1A96B1E-19C8-4270-8560-97DF46F2D829}"/>
          </ac:spMkLst>
        </pc:spChg>
        <pc:spChg chg="mod">
          <ac:chgData name="Aurelien Domont" userId="6da7715ce44349b3" providerId="LiveId" clId="{FC9F0652-F29C-4994-AA22-D8A7F4373039}" dt="2021-09-27T04:25:51" v="4" actId="20577"/>
          <ac:spMkLst>
            <pc:docMk/>
            <pc:sldMk cId="3022188194" sldId="1518"/>
            <ac:spMk id="30" creationId="{1C714F5A-006A-4CFF-B366-1FB2A5B2B3A8}"/>
          </ac:spMkLst>
        </pc:spChg>
        <pc:spChg chg="mod">
          <ac:chgData name="Aurelien Domont" userId="6da7715ce44349b3" providerId="LiveId" clId="{FC9F0652-F29C-4994-AA22-D8A7F4373039}" dt="2021-09-27T04:25:52.678" v="5" actId="20577"/>
          <ac:spMkLst>
            <pc:docMk/>
            <pc:sldMk cId="3022188194" sldId="1518"/>
            <ac:spMk id="31" creationId="{249B6312-9B17-4728-855A-91A64BDE2A1C}"/>
          </ac:spMkLst>
        </pc:spChg>
      </pc:sldChg>
      <pc:sldChg chg="addSp delSp modSp mod">
        <pc:chgData name="Aurelien Domont" userId="6da7715ce44349b3" providerId="LiveId" clId="{FC9F0652-F29C-4994-AA22-D8A7F4373039}" dt="2021-09-27T04:46:13.265" v="787" actId="20577"/>
        <pc:sldMkLst>
          <pc:docMk/>
          <pc:sldMk cId="2674311003" sldId="1609"/>
        </pc:sldMkLst>
        <pc:spChg chg="mod">
          <ac:chgData name="Aurelien Domont" userId="6da7715ce44349b3" providerId="LiveId" clId="{FC9F0652-F29C-4994-AA22-D8A7F4373039}" dt="2021-09-27T04:46:13.265" v="787" actId="20577"/>
          <ac:spMkLst>
            <pc:docMk/>
            <pc:sldMk cId="2674311003" sldId="1609"/>
            <ac:spMk id="2" creationId="{98205034-64E8-4435-BFA1-43956B7507D0}"/>
          </ac:spMkLst>
        </pc:spChg>
        <pc:spChg chg="del">
          <ac:chgData name="Aurelien Domont" userId="6da7715ce44349b3" providerId="LiveId" clId="{FC9F0652-F29C-4994-AA22-D8A7F4373039}" dt="2021-09-27T04:43:20.692" v="753" actId="478"/>
          <ac:spMkLst>
            <pc:docMk/>
            <pc:sldMk cId="2674311003" sldId="1609"/>
            <ac:spMk id="3" creationId="{5A344048-DBDE-413B-8AF9-F87D45AC158E}"/>
          </ac:spMkLst>
        </pc:spChg>
        <pc:spChg chg="del">
          <ac:chgData name="Aurelien Domont" userId="6da7715ce44349b3" providerId="LiveId" clId="{FC9F0652-F29C-4994-AA22-D8A7F4373039}" dt="2021-09-27T04:43:17.513" v="752" actId="478"/>
          <ac:spMkLst>
            <pc:docMk/>
            <pc:sldMk cId="2674311003" sldId="1609"/>
            <ac:spMk id="4" creationId="{255F0877-572A-45D9-B70B-77449C9C1013}"/>
          </ac:spMkLst>
        </pc:spChg>
        <pc:spChg chg="add del mod">
          <ac:chgData name="Aurelien Domont" userId="6da7715ce44349b3" providerId="LiveId" clId="{FC9F0652-F29C-4994-AA22-D8A7F4373039}" dt="2021-09-27T04:43:22.491" v="754" actId="478"/>
          <ac:spMkLst>
            <pc:docMk/>
            <pc:sldMk cId="2674311003" sldId="1609"/>
            <ac:spMk id="10" creationId="{A2C64FD4-DCA2-4E86-B0ED-38191AD65964}"/>
          </ac:spMkLst>
        </pc:spChg>
        <pc:spChg chg="add mod">
          <ac:chgData name="Aurelien Domont" userId="6da7715ce44349b3" providerId="LiveId" clId="{FC9F0652-F29C-4994-AA22-D8A7F4373039}" dt="2021-09-27T04:46:09.940" v="786" actId="20577"/>
          <ac:spMkLst>
            <pc:docMk/>
            <pc:sldMk cId="2674311003" sldId="1609"/>
            <ac:spMk id="11" creationId="{F6AA9E43-1446-433E-B75E-0B63C3EC547A}"/>
          </ac:spMkLst>
        </pc:spChg>
        <pc:picChg chg="del">
          <ac:chgData name="Aurelien Domont" userId="6da7715ce44349b3" providerId="LiveId" clId="{FC9F0652-F29C-4994-AA22-D8A7F4373039}" dt="2021-09-27T04:43:20.692" v="753" actId="478"/>
          <ac:picMkLst>
            <pc:docMk/>
            <pc:sldMk cId="2674311003" sldId="1609"/>
            <ac:picMk id="5" creationId="{56B1C362-96F1-4BC9-AC8E-F365FD8F8E8A}"/>
          </ac:picMkLst>
        </pc:picChg>
      </pc:sldChg>
      <pc:sldChg chg="modSp add mod">
        <pc:chgData name="Aurelien Domont" userId="6da7715ce44349b3" providerId="LiveId" clId="{FC9F0652-F29C-4994-AA22-D8A7F4373039}" dt="2021-09-27T04:47:21.839" v="835" actId="6549"/>
        <pc:sldMkLst>
          <pc:docMk/>
          <pc:sldMk cId="4079287615" sldId="1610"/>
        </pc:sldMkLst>
        <pc:spChg chg="mod">
          <ac:chgData name="Aurelien Domont" userId="6da7715ce44349b3" providerId="LiveId" clId="{FC9F0652-F29C-4994-AA22-D8A7F4373039}" dt="2021-09-27T04:46:52.258" v="833" actId="20577"/>
          <ac:spMkLst>
            <pc:docMk/>
            <pc:sldMk cId="4079287615" sldId="1610"/>
            <ac:spMk id="2" creationId="{98205034-64E8-4435-BFA1-43956B7507D0}"/>
          </ac:spMkLst>
        </pc:spChg>
        <pc:spChg chg="mod">
          <ac:chgData name="Aurelien Domont" userId="6da7715ce44349b3" providerId="LiveId" clId="{FC9F0652-F29C-4994-AA22-D8A7F4373039}" dt="2021-09-27T04:47:21.839" v="835" actId="6549"/>
          <ac:spMkLst>
            <pc:docMk/>
            <pc:sldMk cId="4079287615" sldId="1610"/>
            <ac:spMk id="11" creationId="{F6AA9E43-1446-433E-B75E-0B63C3EC547A}"/>
          </ac:spMkLst>
        </pc:spChg>
      </pc:sldChg>
      <pc:sldChg chg="addSp delSp modSp add mod">
        <pc:chgData name="Aurelien Domont" userId="6da7715ce44349b3" providerId="LiveId" clId="{FC9F0652-F29C-4994-AA22-D8A7F4373039}" dt="2021-09-27T04:50:18.676" v="938" actId="1035"/>
        <pc:sldMkLst>
          <pc:docMk/>
          <pc:sldMk cId="3243212141" sldId="1611"/>
        </pc:sldMkLst>
        <pc:spChg chg="mod">
          <ac:chgData name="Aurelien Domont" userId="6da7715ce44349b3" providerId="LiveId" clId="{FC9F0652-F29C-4994-AA22-D8A7F4373039}" dt="2021-09-27T04:48:04.672" v="854" actId="20577"/>
          <ac:spMkLst>
            <pc:docMk/>
            <pc:sldMk cId="3243212141" sldId="1611"/>
            <ac:spMk id="2" creationId="{98205034-64E8-4435-BFA1-43956B7507D0}"/>
          </ac:spMkLst>
        </pc:spChg>
        <pc:spChg chg="add mod">
          <ac:chgData name="Aurelien Domont" userId="6da7715ce44349b3" providerId="LiveId" clId="{FC9F0652-F29C-4994-AA22-D8A7F4373039}" dt="2021-09-27T04:50:18.676" v="938" actId="1035"/>
          <ac:spMkLst>
            <pc:docMk/>
            <pc:sldMk cId="3243212141" sldId="1611"/>
            <ac:spMk id="5" creationId="{48EA178E-EC8B-45E3-B0C3-7EB3B218C330}"/>
          </ac:spMkLst>
        </pc:spChg>
        <pc:spChg chg="del">
          <ac:chgData name="Aurelien Domont" userId="6da7715ce44349b3" providerId="LiveId" clId="{FC9F0652-F29C-4994-AA22-D8A7F4373039}" dt="2021-09-27T04:48:07.208" v="855" actId="478"/>
          <ac:spMkLst>
            <pc:docMk/>
            <pc:sldMk cId="3243212141" sldId="1611"/>
            <ac:spMk id="11" creationId="{F6AA9E43-1446-433E-B75E-0B63C3EC547A}"/>
          </ac:spMkLst>
        </pc:spChg>
        <pc:picChg chg="add mod">
          <ac:chgData name="Aurelien Domont" userId="6da7715ce44349b3" providerId="LiveId" clId="{FC9F0652-F29C-4994-AA22-D8A7F4373039}" dt="2021-09-27T04:50:14.015" v="931" actId="1076"/>
          <ac:picMkLst>
            <pc:docMk/>
            <pc:sldMk cId="3243212141" sldId="1611"/>
            <ac:picMk id="4" creationId="{9805B06B-7ED0-4E80-902C-E51692C5675C}"/>
          </ac:picMkLst>
        </pc:picChg>
      </pc:sldChg>
      <pc:sldChg chg="addSp delSp modSp del mod">
        <pc:chgData name="Aurelien Domont" userId="6da7715ce44349b3" providerId="LiveId" clId="{FC9F0652-F29C-4994-AA22-D8A7F4373039}" dt="2021-09-27T04:43:13.766" v="751" actId="47"/>
        <pc:sldMkLst>
          <pc:docMk/>
          <pc:sldMk cId="755765328" sldId="1848"/>
        </pc:sldMkLst>
        <pc:spChg chg="mod">
          <ac:chgData name="Aurelien Domont" userId="6da7715ce44349b3" providerId="LiveId" clId="{FC9F0652-F29C-4994-AA22-D8A7F4373039}" dt="2021-09-27T04:33:24.399" v="521" actId="20577"/>
          <ac:spMkLst>
            <pc:docMk/>
            <pc:sldMk cId="755765328" sldId="1848"/>
            <ac:spMk id="14" creationId="{C9800183-F524-4412-AB39-A6E1A21FF0B3}"/>
          </ac:spMkLst>
        </pc:spChg>
        <pc:spChg chg="mod">
          <ac:chgData name="Aurelien Domont" userId="6da7715ce44349b3" providerId="LiveId" clId="{FC9F0652-F29C-4994-AA22-D8A7F4373039}" dt="2021-09-27T04:29:44.522" v="225" actId="20577"/>
          <ac:spMkLst>
            <pc:docMk/>
            <pc:sldMk cId="755765328" sldId="1848"/>
            <ac:spMk id="41" creationId="{CDAC5E1B-649F-44B2-9B6A-55DFC5F981F5}"/>
          </ac:spMkLst>
        </pc:spChg>
        <pc:spChg chg="mod">
          <ac:chgData name="Aurelien Domont" userId="6da7715ce44349b3" providerId="LiveId" clId="{FC9F0652-F29C-4994-AA22-D8A7F4373039}" dt="2021-09-27T04:28:04.280" v="44" actId="1036"/>
          <ac:spMkLst>
            <pc:docMk/>
            <pc:sldMk cId="755765328" sldId="1848"/>
            <ac:spMk id="42" creationId="{30A4BAB1-ECB5-481A-979F-8F991EB2B28D}"/>
          </ac:spMkLst>
        </pc:spChg>
        <pc:picChg chg="add mod ord">
          <ac:chgData name="Aurelien Domont" userId="6da7715ce44349b3" providerId="LiveId" clId="{FC9F0652-F29C-4994-AA22-D8A7F4373039}" dt="2021-09-27T04:28:00.242" v="41" actId="167"/>
          <ac:picMkLst>
            <pc:docMk/>
            <pc:sldMk cId="755765328" sldId="1848"/>
            <ac:picMk id="9" creationId="{658DF91C-0268-448F-9E6E-195C7F1B885D}"/>
          </ac:picMkLst>
        </pc:picChg>
        <pc:picChg chg="del">
          <ac:chgData name="Aurelien Domont" userId="6da7715ce44349b3" providerId="LiveId" clId="{FC9F0652-F29C-4994-AA22-D8A7F4373039}" dt="2021-09-27T04:27:57.513" v="39" actId="478"/>
          <ac:picMkLst>
            <pc:docMk/>
            <pc:sldMk cId="755765328" sldId="1848"/>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1654661241" sldId="1849"/>
        </pc:sldMkLst>
        <pc:spChg chg="mod">
          <ac:chgData name="Aurelien Domont" userId="6da7715ce44349b3" providerId="LiveId" clId="{FC9F0652-F29C-4994-AA22-D8A7F4373039}" dt="2021-09-27T04:33:12.094" v="486" actId="20577"/>
          <ac:spMkLst>
            <pc:docMk/>
            <pc:sldMk cId="1654661241" sldId="1849"/>
            <ac:spMk id="14" creationId="{C9800183-F524-4412-AB39-A6E1A21FF0B3}"/>
          </ac:spMkLst>
        </pc:spChg>
        <pc:spChg chg="mod">
          <ac:chgData name="Aurelien Domont" userId="6da7715ce44349b3" providerId="LiveId" clId="{FC9F0652-F29C-4994-AA22-D8A7F4373039}" dt="2021-09-27T04:32:10.346" v="452" actId="20577"/>
          <ac:spMkLst>
            <pc:docMk/>
            <pc:sldMk cId="1654661241" sldId="1849"/>
            <ac:spMk id="41" creationId="{CDAC5E1B-649F-44B2-9B6A-55DFC5F981F5}"/>
          </ac:spMkLst>
        </pc:spChg>
        <pc:picChg chg="add mod ord">
          <ac:chgData name="Aurelien Domont" userId="6da7715ce44349b3" providerId="LiveId" clId="{FC9F0652-F29C-4994-AA22-D8A7F4373039}" dt="2021-09-27T04:29:51.510" v="228" actId="167"/>
          <ac:picMkLst>
            <pc:docMk/>
            <pc:sldMk cId="1654661241" sldId="1849"/>
            <ac:picMk id="9" creationId="{3793D669-9C99-47A9-A16D-C2EE3FD29550}"/>
          </ac:picMkLst>
        </pc:picChg>
        <pc:picChg chg="del">
          <ac:chgData name="Aurelien Domont" userId="6da7715ce44349b3" providerId="LiveId" clId="{FC9F0652-F29C-4994-AA22-D8A7F4373039}" dt="2021-09-27T04:29:49.225" v="226" actId="478"/>
          <ac:picMkLst>
            <pc:docMk/>
            <pc:sldMk cId="1654661241" sldId="1849"/>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1833221085" sldId="1850"/>
        </pc:sldMkLst>
        <pc:spChg chg="mod">
          <ac:chgData name="Aurelien Domont" userId="6da7715ce44349b3" providerId="LiveId" clId="{FC9F0652-F29C-4994-AA22-D8A7F4373039}" dt="2021-09-27T04:33:05.838" v="475" actId="20577"/>
          <ac:spMkLst>
            <pc:docMk/>
            <pc:sldMk cId="1833221085" sldId="1850"/>
            <ac:spMk id="14" creationId="{C9800183-F524-4412-AB39-A6E1A21FF0B3}"/>
          </ac:spMkLst>
        </pc:spChg>
        <pc:spChg chg="mod">
          <ac:chgData name="Aurelien Domont" userId="6da7715ce44349b3" providerId="LiveId" clId="{FC9F0652-F29C-4994-AA22-D8A7F4373039}" dt="2021-09-27T04:32:55.373" v="460"/>
          <ac:spMkLst>
            <pc:docMk/>
            <pc:sldMk cId="1833221085" sldId="1850"/>
            <ac:spMk id="41" creationId="{CDAC5E1B-649F-44B2-9B6A-55DFC5F981F5}"/>
          </ac:spMkLst>
        </pc:spChg>
        <pc:spChg chg="mod">
          <ac:chgData name="Aurelien Domont" userId="6da7715ce44349b3" providerId="LiveId" clId="{FC9F0652-F29C-4994-AA22-D8A7F4373039}" dt="2021-09-27T04:32:21.583" v="459" actId="1036"/>
          <ac:spMkLst>
            <pc:docMk/>
            <pc:sldMk cId="1833221085" sldId="1850"/>
            <ac:spMk id="42" creationId="{30A4BAB1-ECB5-481A-979F-8F991EB2B28D}"/>
          </ac:spMkLst>
        </pc:spChg>
        <pc:picChg chg="add mod ord">
          <ac:chgData name="Aurelien Domont" userId="6da7715ce44349b3" providerId="LiveId" clId="{FC9F0652-F29C-4994-AA22-D8A7F4373039}" dt="2021-09-27T04:32:18.935" v="455" actId="167"/>
          <ac:picMkLst>
            <pc:docMk/>
            <pc:sldMk cId="1833221085" sldId="1850"/>
            <ac:picMk id="9" creationId="{448C69B6-2335-403C-A623-581DFAEC2A1D}"/>
          </ac:picMkLst>
        </pc:picChg>
        <pc:picChg chg="del">
          <ac:chgData name="Aurelien Domont" userId="6da7715ce44349b3" providerId="LiveId" clId="{FC9F0652-F29C-4994-AA22-D8A7F4373039}" dt="2021-09-27T04:32:15.860" v="453" actId="478"/>
          <ac:picMkLst>
            <pc:docMk/>
            <pc:sldMk cId="1833221085" sldId="1850"/>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2643012456" sldId="1851"/>
        </pc:sldMkLst>
        <pc:spChg chg="add del">
          <ac:chgData name="Aurelien Domont" userId="6da7715ce44349b3" providerId="LiveId" clId="{FC9F0652-F29C-4994-AA22-D8A7F4373039}" dt="2021-09-27T04:33:40.072" v="524" actId="22"/>
          <ac:spMkLst>
            <pc:docMk/>
            <pc:sldMk cId="2643012456" sldId="1851"/>
            <ac:spMk id="10" creationId="{A4847C9F-BB7E-4711-9357-778A98BD2D2D}"/>
          </ac:spMkLst>
        </pc:spChg>
        <pc:spChg chg="mod">
          <ac:chgData name="Aurelien Domont" userId="6da7715ce44349b3" providerId="LiveId" clId="{FC9F0652-F29C-4994-AA22-D8A7F4373039}" dt="2021-09-27T04:34:01.194" v="539" actId="20577"/>
          <ac:spMkLst>
            <pc:docMk/>
            <pc:sldMk cId="2643012456" sldId="1851"/>
            <ac:spMk id="14" creationId="{C9800183-F524-4412-AB39-A6E1A21FF0B3}"/>
          </ac:spMkLst>
        </pc:spChg>
        <pc:spChg chg="mod">
          <ac:chgData name="Aurelien Domont" userId="6da7715ce44349b3" providerId="LiveId" clId="{FC9F0652-F29C-4994-AA22-D8A7F4373039}" dt="2021-09-27T04:33:54.512" v="532"/>
          <ac:spMkLst>
            <pc:docMk/>
            <pc:sldMk cId="2643012456" sldId="1851"/>
            <ac:spMk id="41" creationId="{CDAC5E1B-649F-44B2-9B6A-55DFC5F981F5}"/>
          </ac:spMkLst>
        </pc:spChg>
        <pc:spChg chg="mod">
          <ac:chgData name="Aurelien Domont" userId="6da7715ce44349b3" providerId="LiveId" clId="{FC9F0652-F29C-4994-AA22-D8A7F4373039}" dt="2021-09-27T04:33:48.383" v="531" actId="1036"/>
          <ac:spMkLst>
            <pc:docMk/>
            <pc:sldMk cId="2643012456" sldId="1851"/>
            <ac:spMk id="42" creationId="{30A4BAB1-ECB5-481A-979F-8F991EB2B28D}"/>
          </ac:spMkLst>
        </pc:spChg>
        <pc:picChg chg="add mod ord">
          <ac:chgData name="Aurelien Domont" userId="6da7715ce44349b3" providerId="LiveId" clId="{FC9F0652-F29C-4994-AA22-D8A7F4373039}" dt="2021-09-27T04:33:45.414" v="526" actId="167"/>
          <ac:picMkLst>
            <pc:docMk/>
            <pc:sldMk cId="2643012456" sldId="1851"/>
            <ac:picMk id="11" creationId="{20B0B1EF-6DE1-497E-A4C7-712FB7FAAE7A}"/>
          </ac:picMkLst>
        </pc:picChg>
        <pc:picChg chg="del">
          <ac:chgData name="Aurelien Domont" userId="6da7715ce44349b3" providerId="LiveId" clId="{FC9F0652-F29C-4994-AA22-D8A7F4373039}" dt="2021-09-27T04:33:38.438" v="522" actId="478"/>
          <ac:picMkLst>
            <pc:docMk/>
            <pc:sldMk cId="2643012456" sldId="1851"/>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1059551536" sldId="1852"/>
        </pc:sldMkLst>
        <pc:spChg chg="add del">
          <ac:chgData name="Aurelien Domont" userId="6da7715ce44349b3" providerId="LiveId" clId="{FC9F0652-F29C-4994-AA22-D8A7F4373039}" dt="2021-09-27T04:34:14.848" v="542" actId="22"/>
          <ac:spMkLst>
            <pc:docMk/>
            <pc:sldMk cId="1059551536" sldId="1852"/>
            <ac:spMk id="10" creationId="{6C39E078-52A7-42CF-ABA5-CC3A31AE8FA2}"/>
          </ac:spMkLst>
        </pc:spChg>
        <pc:spChg chg="mod">
          <ac:chgData name="Aurelien Domont" userId="6da7715ce44349b3" providerId="LiveId" clId="{FC9F0652-F29C-4994-AA22-D8A7F4373039}" dt="2021-09-27T04:35:26.572" v="605" actId="20577"/>
          <ac:spMkLst>
            <pc:docMk/>
            <pc:sldMk cId="1059551536" sldId="1852"/>
            <ac:spMk id="41" creationId="{CDAC5E1B-649F-44B2-9B6A-55DFC5F981F5}"/>
          </ac:spMkLst>
        </pc:spChg>
        <pc:spChg chg="mod">
          <ac:chgData name="Aurelien Domont" userId="6da7715ce44349b3" providerId="LiveId" clId="{FC9F0652-F29C-4994-AA22-D8A7F4373039}" dt="2021-09-27T04:34:24.367" v="549" actId="1036"/>
          <ac:spMkLst>
            <pc:docMk/>
            <pc:sldMk cId="1059551536" sldId="1852"/>
            <ac:spMk id="42" creationId="{30A4BAB1-ECB5-481A-979F-8F991EB2B28D}"/>
          </ac:spMkLst>
        </pc:spChg>
        <pc:picChg chg="add mod ord">
          <ac:chgData name="Aurelien Domont" userId="6da7715ce44349b3" providerId="LiveId" clId="{FC9F0652-F29C-4994-AA22-D8A7F4373039}" dt="2021-09-27T04:34:20.868" v="544" actId="167"/>
          <ac:picMkLst>
            <pc:docMk/>
            <pc:sldMk cId="1059551536" sldId="1852"/>
            <ac:picMk id="11" creationId="{263C98F2-4F75-4C7B-9B79-397E47094F5E}"/>
          </ac:picMkLst>
        </pc:picChg>
        <pc:picChg chg="del">
          <ac:chgData name="Aurelien Domont" userId="6da7715ce44349b3" providerId="LiveId" clId="{FC9F0652-F29C-4994-AA22-D8A7F4373039}" dt="2021-09-27T04:34:13.202" v="540" actId="478"/>
          <ac:picMkLst>
            <pc:docMk/>
            <pc:sldMk cId="1059551536" sldId="1852"/>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2896019095" sldId="1853"/>
        </pc:sldMkLst>
        <pc:spChg chg="mod">
          <ac:chgData name="Aurelien Domont" userId="6da7715ce44349b3" providerId="LiveId" clId="{FC9F0652-F29C-4994-AA22-D8A7F4373039}" dt="2021-09-27T04:35:41.751" v="613" actId="1036"/>
          <ac:spMkLst>
            <pc:docMk/>
            <pc:sldMk cId="2896019095" sldId="1853"/>
            <ac:spMk id="42" creationId="{30A4BAB1-ECB5-481A-979F-8F991EB2B28D}"/>
          </ac:spMkLst>
        </pc:spChg>
        <pc:picChg chg="add mod ord">
          <ac:chgData name="Aurelien Domont" userId="6da7715ce44349b3" providerId="LiveId" clId="{FC9F0652-F29C-4994-AA22-D8A7F4373039}" dt="2021-09-27T04:35:38.799" v="608" actId="167"/>
          <ac:picMkLst>
            <pc:docMk/>
            <pc:sldMk cId="2896019095" sldId="1853"/>
            <ac:picMk id="9" creationId="{15909706-574F-4FC4-AB3F-FA00B49F4C51}"/>
          </ac:picMkLst>
        </pc:picChg>
        <pc:picChg chg="del">
          <ac:chgData name="Aurelien Domont" userId="6da7715ce44349b3" providerId="LiveId" clId="{FC9F0652-F29C-4994-AA22-D8A7F4373039}" dt="2021-09-27T04:35:35.441" v="606" actId="478"/>
          <ac:picMkLst>
            <pc:docMk/>
            <pc:sldMk cId="2896019095" sldId="1853"/>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3879198551" sldId="1854"/>
        </pc:sldMkLst>
        <pc:spChg chg="mod">
          <ac:chgData name="Aurelien Domont" userId="6da7715ce44349b3" providerId="LiveId" clId="{FC9F0652-F29C-4994-AA22-D8A7F4373039}" dt="2021-09-27T04:35:59.502" v="620" actId="1036"/>
          <ac:spMkLst>
            <pc:docMk/>
            <pc:sldMk cId="3879198551" sldId="1854"/>
            <ac:spMk id="42" creationId="{30A4BAB1-ECB5-481A-979F-8F991EB2B28D}"/>
          </ac:spMkLst>
        </pc:spChg>
        <pc:picChg chg="add mod ord">
          <ac:chgData name="Aurelien Domont" userId="6da7715ce44349b3" providerId="LiveId" clId="{FC9F0652-F29C-4994-AA22-D8A7F4373039}" dt="2021-09-27T04:35:56.355" v="616" actId="167"/>
          <ac:picMkLst>
            <pc:docMk/>
            <pc:sldMk cId="3879198551" sldId="1854"/>
            <ac:picMk id="9" creationId="{E195B09F-AF57-431A-B57E-CFB9B514903D}"/>
          </ac:picMkLst>
        </pc:picChg>
        <pc:picChg chg="del">
          <ac:chgData name="Aurelien Domont" userId="6da7715ce44349b3" providerId="LiveId" clId="{FC9F0652-F29C-4994-AA22-D8A7F4373039}" dt="2021-09-27T04:35:50.742" v="614" actId="478"/>
          <ac:picMkLst>
            <pc:docMk/>
            <pc:sldMk cId="3879198551" sldId="1854"/>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1264531518" sldId="1855"/>
        </pc:sldMkLst>
        <pc:picChg chg="add mod ord">
          <ac:chgData name="Aurelien Domont" userId="6da7715ce44349b3" providerId="LiveId" clId="{FC9F0652-F29C-4994-AA22-D8A7F4373039}" dt="2021-09-27T04:36:09.657" v="623" actId="167"/>
          <ac:picMkLst>
            <pc:docMk/>
            <pc:sldMk cId="1264531518" sldId="1855"/>
            <ac:picMk id="9" creationId="{DAF263B2-991C-4068-93C3-E62427232923}"/>
          </ac:picMkLst>
        </pc:picChg>
        <pc:picChg chg="del">
          <ac:chgData name="Aurelien Domont" userId="6da7715ce44349b3" providerId="LiveId" clId="{FC9F0652-F29C-4994-AA22-D8A7F4373039}" dt="2021-09-27T04:36:06.446" v="621" actId="478"/>
          <ac:picMkLst>
            <pc:docMk/>
            <pc:sldMk cId="1264531518" sldId="1855"/>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3081362484" sldId="1856"/>
        </pc:sldMkLst>
        <pc:spChg chg="mod">
          <ac:chgData name="Aurelien Domont" userId="6da7715ce44349b3" providerId="LiveId" clId="{FC9F0652-F29C-4994-AA22-D8A7F4373039}" dt="2021-09-27T04:36:18.866" v="630" actId="1036"/>
          <ac:spMkLst>
            <pc:docMk/>
            <pc:sldMk cId="3081362484" sldId="1856"/>
            <ac:spMk id="42" creationId="{30A4BAB1-ECB5-481A-979F-8F991EB2B28D}"/>
          </ac:spMkLst>
        </pc:spChg>
        <pc:picChg chg="add mod ord">
          <ac:chgData name="Aurelien Domont" userId="6da7715ce44349b3" providerId="LiveId" clId="{FC9F0652-F29C-4994-AA22-D8A7F4373039}" dt="2021-09-27T04:36:15.472" v="626" actId="167"/>
          <ac:picMkLst>
            <pc:docMk/>
            <pc:sldMk cId="3081362484" sldId="1856"/>
            <ac:picMk id="9" creationId="{0A0018C4-04F0-4528-956E-E8ABCAE1921A}"/>
          </ac:picMkLst>
        </pc:picChg>
        <pc:picChg chg="del">
          <ac:chgData name="Aurelien Domont" userId="6da7715ce44349b3" providerId="LiveId" clId="{FC9F0652-F29C-4994-AA22-D8A7F4373039}" dt="2021-09-27T04:36:12.994" v="624" actId="478"/>
          <ac:picMkLst>
            <pc:docMk/>
            <pc:sldMk cId="3081362484" sldId="1856"/>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684678840" sldId="1857"/>
        </pc:sldMkLst>
        <pc:spChg chg="mod">
          <ac:chgData name="Aurelien Domont" userId="6da7715ce44349b3" providerId="LiveId" clId="{FC9F0652-F29C-4994-AA22-D8A7F4373039}" dt="2021-09-27T04:36:27.979" v="640" actId="1036"/>
          <ac:spMkLst>
            <pc:docMk/>
            <pc:sldMk cId="684678840" sldId="1857"/>
            <ac:spMk id="42" creationId="{30A4BAB1-ECB5-481A-979F-8F991EB2B28D}"/>
          </ac:spMkLst>
        </pc:spChg>
        <pc:picChg chg="add mod ord">
          <ac:chgData name="Aurelien Domont" userId="6da7715ce44349b3" providerId="LiveId" clId="{FC9F0652-F29C-4994-AA22-D8A7F4373039}" dt="2021-09-27T04:36:24.905" v="633" actId="167"/>
          <ac:picMkLst>
            <pc:docMk/>
            <pc:sldMk cId="684678840" sldId="1857"/>
            <ac:picMk id="9" creationId="{10E60F1B-0B32-4137-B10F-B6966CD07260}"/>
          </ac:picMkLst>
        </pc:picChg>
        <pc:picChg chg="del">
          <ac:chgData name="Aurelien Domont" userId="6da7715ce44349b3" providerId="LiveId" clId="{FC9F0652-F29C-4994-AA22-D8A7F4373039}" dt="2021-09-27T04:36:22.467" v="631" actId="478"/>
          <ac:picMkLst>
            <pc:docMk/>
            <pc:sldMk cId="684678840" sldId="1857"/>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482510297" sldId="1858"/>
        </pc:sldMkLst>
        <pc:spChg chg="mod">
          <ac:chgData name="Aurelien Domont" userId="6da7715ce44349b3" providerId="LiveId" clId="{FC9F0652-F29C-4994-AA22-D8A7F4373039}" dt="2021-09-27T04:36:38.509" v="648" actId="1036"/>
          <ac:spMkLst>
            <pc:docMk/>
            <pc:sldMk cId="482510297" sldId="1858"/>
            <ac:spMk id="42" creationId="{30A4BAB1-ECB5-481A-979F-8F991EB2B28D}"/>
          </ac:spMkLst>
        </pc:spChg>
        <pc:picChg chg="add mod ord">
          <ac:chgData name="Aurelien Domont" userId="6da7715ce44349b3" providerId="LiveId" clId="{FC9F0652-F29C-4994-AA22-D8A7F4373039}" dt="2021-09-27T04:36:35.026" v="643" actId="167"/>
          <ac:picMkLst>
            <pc:docMk/>
            <pc:sldMk cId="482510297" sldId="1858"/>
            <ac:picMk id="9" creationId="{5F2CE437-08A5-4636-89C9-798B9298361F}"/>
          </ac:picMkLst>
        </pc:picChg>
        <pc:picChg chg="del">
          <ac:chgData name="Aurelien Domont" userId="6da7715ce44349b3" providerId="LiveId" clId="{FC9F0652-F29C-4994-AA22-D8A7F4373039}" dt="2021-09-27T04:36:32.413" v="641" actId="478"/>
          <ac:picMkLst>
            <pc:docMk/>
            <pc:sldMk cId="482510297" sldId="1858"/>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2826011406" sldId="1859"/>
        </pc:sldMkLst>
        <pc:spChg chg="mod">
          <ac:chgData name="Aurelien Domont" userId="6da7715ce44349b3" providerId="LiveId" clId="{FC9F0652-F29C-4994-AA22-D8A7F4373039}" dt="2021-09-27T04:37:14.149" v="687" actId="1035"/>
          <ac:spMkLst>
            <pc:docMk/>
            <pc:sldMk cId="2826011406" sldId="1859"/>
            <ac:spMk id="8" creationId="{9F0433C9-D049-44E0-8A1F-973AC76F7C7C}"/>
          </ac:spMkLst>
        </pc:spChg>
        <pc:picChg chg="add mod ord">
          <ac:chgData name="Aurelien Domont" userId="6da7715ce44349b3" providerId="LiveId" clId="{FC9F0652-F29C-4994-AA22-D8A7F4373039}" dt="2021-09-27T04:36:44.640" v="651" actId="167"/>
          <ac:picMkLst>
            <pc:docMk/>
            <pc:sldMk cId="2826011406" sldId="1859"/>
            <ac:picMk id="10" creationId="{E6E32491-7B82-43C3-8272-FAF685744F3C}"/>
          </ac:picMkLst>
        </pc:picChg>
        <pc:picChg chg="del">
          <ac:chgData name="Aurelien Domont" userId="6da7715ce44349b3" providerId="LiveId" clId="{FC9F0652-F29C-4994-AA22-D8A7F4373039}" dt="2021-09-27T04:36:40.985" v="649" actId="478"/>
          <ac:picMkLst>
            <pc:docMk/>
            <pc:sldMk cId="2826011406" sldId="1859"/>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843660713" sldId="1860"/>
        </pc:sldMkLst>
        <pc:spChg chg="mod">
          <ac:chgData name="Aurelien Domont" userId="6da7715ce44349b3" providerId="LiveId" clId="{FC9F0652-F29C-4994-AA22-D8A7F4373039}" dt="2021-09-27T04:37:44.736" v="697" actId="1036"/>
          <ac:spMkLst>
            <pc:docMk/>
            <pc:sldMk cId="843660713" sldId="1860"/>
            <ac:spMk id="8" creationId="{9F0433C9-D049-44E0-8A1F-973AC76F7C7C}"/>
          </ac:spMkLst>
        </pc:spChg>
        <pc:picChg chg="add mod ord">
          <ac:chgData name="Aurelien Domont" userId="6da7715ce44349b3" providerId="LiveId" clId="{FC9F0652-F29C-4994-AA22-D8A7F4373039}" dt="2021-09-27T04:37:41.109" v="690" actId="167"/>
          <ac:picMkLst>
            <pc:docMk/>
            <pc:sldMk cId="843660713" sldId="1860"/>
            <ac:picMk id="10" creationId="{EE430DB7-BC0F-452E-8181-AF5619EEA029}"/>
          </ac:picMkLst>
        </pc:picChg>
        <pc:picChg chg="del">
          <ac:chgData name="Aurelien Domont" userId="6da7715ce44349b3" providerId="LiveId" clId="{FC9F0652-F29C-4994-AA22-D8A7F4373039}" dt="2021-09-27T04:37:38.049" v="688" actId="478"/>
          <ac:picMkLst>
            <pc:docMk/>
            <pc:sldMk cId="843660713" sldId="1860"/>
            <ac:picMk id="40" creationId="{27542136-C3AF-40E2-B294-B19A0A391709}"/>
          </ac:picMkLst>
        </pc:picChg>
      </pc:sldChg>
      <pc:sldChg chg="addSp delSp modSp del mod">
        <pc:chgData name="Aurelien Domont" userId="6da7715ce44349b3" providerId="LiveId" clId="{FC9F0652-F29C-4994-AA22-D8A7F4373039}" dt="2021-09-27T04:43:13.766" v="751" actId="47"/>
        <pc:sldMkLst>
          <pc:docMk/>
          <pc:sldMk cId="2263937495" sldId="1861"/>
        </pc:sldMkLst>
        <pc:picChg chg="add mod ord">
          <ac:chgData name="Aurelien Domont" userId="6da7715ce44349b3" providerId="LiveId" clId="{FC9F0652-F29C-4994-AA22-D8A7F4373039}" dt="2021-09-27T04:37:57.811" v="708" actId="167"/>
          <ac:picMkLst>
            <pc:docMk/>
            <pc:sldMk cId="2263937495" sldId="1861"/>
            <ac:picMk id="10" creationId="{13DD61CD-8265-412D-A1BB-3B14C494ECD8}"/>
          </ac:picMkLst>
        </pc:picChg>
        <pc:picChg chg="del">
          <ac:chgData name="Aurelien Domont" userId="6da7715ce44349b3" providerId="LiveId" clId="{FC9F0652-F29C-4994-AA22-D8A7F4373039}" dt="2021-09-27T04:37:51.817" v="698" actId="478"/>
          <ac:picMkLst>
            <pc:docMk/>
            <pc:sldMk cId="2263937495" sldId="1861"/>
            <ac:picMk id="40" creationId="{27542136-C3AF-40E2-B294-B19A0A391709}"/>
          </ac:picMkLst>
        </pc:picChg>
      </pc:sldChg>
      <pc:sldChg chg="del">
        <pc:chgData name="Aurelien Domont" userId="6da7715ce44349b3" providerId="LiveId" clId="{FC9F0652-F29C-4994-AA22-D8A7F4373039}" dt="2021-09-27T04:26:25.367" v="7" actId="47"/>
        <pc:sldMkLst>
          <pc:docMk/>
          <pc:sldMk cId="1754585881" sldId="1862"/>
        </pc:sldMkLst>
      </pc:sldChg>
      <pc:sldChg chg="addSp delSp modSp del mod">
        <pc:chgData name="Aurelien Domont" userId="6da7715ce44349b3" providerId="LiveId" clId="{FC9F0652-F29C-4994-AA22-D8A7F4373039}" dt="2021-09-27T04:43:13.766" v="751" actId="47"/>
        <pc:sldMkLst>
          <pc:docMk/>
          <pc:sldMk cId="2207873510" sldId="1863"/>
        </pc:sldMkLst>
        <pc:spChg chg="mod">
          <ac:chgData name="Aurelien Domont" userId="6da7715ce44349b3" providerId="LiveId" clId="{FC9F0652-F29C-4994-AA22-D8A7F4373039}" dt="2021-09-27T04:27:45.886" v="38" actId="20577"/>
          <ac:spMkLst>
            <pc:docMk/>
            <pc:sldMk cId="2207873510" sldId="1863"/>
            <ac:spMk id="41" creationId="{CDAC5E1B-649F-44B2-9B6A-55DFC5F981F5}"/>
          </ac:spMkLst>
        </pc:spChg>
        <pc:spChg chg="mod">
          <ac:chgData name="Aurelien Domont" userId="6da7715ce44349b3" providerId="LiveId" clId="{FC9F0652-F29C-4994-AA22-D8A7F4373039}" dt="2021-09-27T04:27:31.956" v="23" actId="1036"/>
          <ac:spMkLst>
            <pc:docMk/>
            <pc:sldMk cId="2207873510" sldId="1863"/>
            <ac:spMk id="42" creationId="{30A4BAB1-ECB5-481A-979F-8F991EB2B28D}"/>
          </ac:spMkLst>
        </pc:spChg>
        <pc:picChg chg="add mod ord">
          <ac:chgData name="Aurelien Domont" userId="6da7715ce44349b3" providerId="LiveId" clId="{FC9F0652-F29C-4994-AA22-D8A7F4373039}" dt="2021-09-27T04:27:28.593" v="16" actId="14100"/>
          <ac:picMkLst>
            <pc:docMk/>
            <pc:sldMk cId="2207873510" sldId="1863"/>
            <ac:picMk id="3" creationId="{4B62C94A-7EDF-4072-9E6C-126ED152CB34}"/>
          </ac:picMkLst>
        </pc:picChg>
        <pc:picChg chg="del">
          <ac:chgData name="Aurelien Domont" userId="6da7715ce44349b3" providerId="LiveId" clId="{FC9F0652-F29C-4994-AA22-D8A7F4373039}" dt="2021-09-27T04:27:04.138" v="9" actId="478"/>
          <ac:picMkLst>
            <pc:docMk/>
            <pc:sldMk cId="2207873510" sldId="1863"/>
            <ac:picMk id="40" creationId="{27542136-C3AF-40E2-B294-B19A0A391709}"/>
          </ac:picMkLst>
        </pc:picChg>
      </pc:sldChg>
    </pc:docChg>
  </pc:docChgLst>
  <pc:docChgLst>
    <pc:chgData name="Aurelien Domont" userId="6da7715ce44349b3" providerId="LiveId" clId="{F27013A2-6794-42E8-B1D5-121F45B510D8}"/>
    <pc:docChg chg="modSld">
      <pc:chgData name="Aurelien Domont" userId="6da7715ce44349b3" providerId="LiveId" clId="{F27013A2-6794-42E8-B1D5-121F45B510D8}" dt="2021-09-02T03:51:49.292" v="1" actId="113"/>
      <pc:docMkLst>
        <pc:docMk/>
      </pc:docMkLst>
      <pc:sldChg chg="modSp mod">
        <pc:chgData name="Aurelien Domont" userId="6da7715ce44349b3" providerId="LiveId" clId="{F27013A2-6794-42E8-B1D5-121F45B510D8}" dt="2021-09-02T03:51:49.292" v="1" actId="113"/>
        <pc:sldMkLst>
          <pc:docMk/>
          <pc:sldMk cId="3022188194" sldId="1518"/>
        </pc:sldMkLst>
        <pc:spChg chg="mod">
          <ac:chgData name="Aurelien Domont" userId="6da7715ce44349b3" providerId="LiveId" clId="{F27013A2-6794-42E8-B1D5-121F45B510D8}" dt="2021-09-02T03:51:49.292" v="1" actId="113"/>
          <ac:spMkLst>
            <pc:docMk/>
            <pc:sldMk cId="3022188194" sldId="1518"/>
            <ac:spMk id="14" creationId="{C9800183-F524-4412-AB39-A6E1A21FF0B3}"/>
          </ac:spMkLst>
        </pc:spChg>
      </pc:sldChg>
    </pc:docChg>
  </pc:docChgLst>
  <pc:docChgLst>
    <pc:chgData name="Aurelien Domont" userId="6da7715ce44349b3" providerId="LiveId" clId="{3873675B-E5D3-4C32-8913-7DF0841991F9}"/>
    <pc:docChg chg="custSel addSld delSld modSld">
      <pc:chgData name="Aurelien Domont" userId="6da7715ce44349b3" providerId="LiveId" clId="{3873675B-E5D3-4C32-8913-7DF0841991F9}" dt="2020-09-24T07:30:33.641" v="481" actId="14100"/>
      <pc:docMkLst>
        <pc:docMk/>
      </pc:docMkLst>
      <pc:sldChg chg="del">
        <pc:chgData name="Aurelien Domont" userId="6da7715ce44349b3" providerId="LiveId" clId="{3873675B-E5D3-4C32-8913-7DF0841991F9}" dt="2020-09-24T07:16:24.106" v="1" actId="47"/>
        <pc:sldMkLst>
          <pc:docMk/>
          <pc:sldMk cId="1048030620" sldId="1516"/>
        </pc:sldMkLst>
      </pc:sldChg>
      <pc:sldChg chg="addSp delSp modSp mod">
        <pc:chgData name="Aurelien Domont" userId="6da7715ce44349b3" providerId="LiveId" clId="{3873675B-E5D3-4C32-8913-7DF0841991F9}" dt="2020-09-24T07:28:53.373" v="462" actId="208"/>
        <pc:sldMkLst>
          <pc:docMk/>
          <pc:sldMk cId="3022188194" sldId="1518"/>
        </pc:sldMkLst>
        <pc:spChg chg="add mod">
          <ac:chgData name="Aurelien Domont" userId="6da7715ce44349b3" providerId="LiveId" clId="{3873675B-E5D3-4C32-8913-7DF0841991F9}" dt="2020-09-24T07:26:14.529" v="289" actId="14100"/>
          <ac:spMkLst>
            <pc:docMk/>
            <pc:sldMk cId="3022188194" sldId="1518"/>
            <ac:spMk id="9" creationId="{D1E7C254-27E8-4C80-BD23-5AA385ED0BB0}"/>
          </ac:spMkLst>
        </pc:spChg>
        <pc:spChg chg="add mod">
          <ac:chgData name="Aurelien Domont" userId="6da7715ce44349b3" providerId="LiveId" clId="{3873675B-E5D3-4C32-8913-7DF0841991F9}" dt="2020-09-24T07:28:25.733" v="445" actId="14100"/>
          <ac:spMkLst>
            <pc:docMk/>
            <pc:sldMk cId="3022188194" sldId="1518"/>
            <ac:spMk id="10" creationId="{667C03EA-83CA-40BE-AFCB-091FF55BE510}"/>
          </ac:spMkLst>
        </pc:spChg>
        <pc:spChg chg="add del mod">
          <ac:chgData name="Aurelien Domont" userId="6da7715ce44349b3" providerId="LiveId" clId="{3873675B-E5D3-4C32-8913-7DF0841991F9}" dt="2020-09-24T07:26:01.930" v="285" actId="478"/>
          <ac:spMkLst>
            <pc:docMk/>
            <pc:sldMk cId="3022188194" sldId="1518"/>
            <ac:spMk id="11" creationId="{DA6E4B53-DC27-41A7-9115-8DFB96E500EA}"/>
          </ac:spMkLst>
        </pc:spChg>
        <pc:spChg chg="add del mod">
          <ac:chgData name="Aurelien Domont" userId="6da7715ce44349b3" providerId="LiveId" clId="{3873675B-E5D3-4C32-8913-7DF0841991F9}" dt="2020-09-24T07:26:01.930" v="285" actId="478"/>
          <ac:spMkLst>
            <pc:docMk/>
            <pc:sldMk cId="3022188194" sldId="1518"/>
            <ac:spMk id="12" creationId="{AE06A770-41BD-4B4A-BE90-319B5154AD0B}"/>
          </ac:spMkLst>
        </pc:spChg>
        <pc:spChg chg="add del mod">
          <ac:chgData name="Aurelien Domont" userId="6da7715ce44349b3" providerId="LiveId" clId="{3873675B-E5D3-4C32-8913-7DF0841991F9}" dt="2020-09-24T07:26:24.081" v="293" actId="478"/>
          <ac:spMkLst>
            <pc:docMk/>
            <pc:sldMk cId="3022188194" sldId="1518"/>
            <ac:spMk id="13" creationId="{323510EF-0BCD-47A5-82D1-FBC7033C1A4D}"/>
          </ac:spMkLst>
        </pc:spChg>
        <pc:spChg chg="mod">
          <ac:chgData name="Aurelien Domont" userId="6da7715ce44349b3" providerId="LiveId" clId="{3873675B-E5D3-4C32-8913-7DF0841991F9}" dt="2020-09-24T07:22:46.869" v="221" actId="20577"/>
          <ac:spMkLst>
            <pc:docMk/>
            <pc:sldMk cId="3022188194" sldId="1518"/>
            <ac:spMk id="14" creationId="{C9800183-F524-4412-AB39-A6E1A21FF0B3}"/>
          </ac:spMkLst>
        </pc:spChg>
        <pc:spChg chg="add mod">
          <ac:chgData name="Aurelien Domont" userId="6da7715ce44349b3" providerId="LiveId" clId="{3873675B-E5D3-4C32-8913-7DF0841991F9}" dt="2020-09-24T07:28:35.643" v="460" actId="20577"/>
          <ac:spMkLst>
            <pc:docMk/>
            <pc:sldMk cId="3022188194" sldId="1518"/>
            <ac:spMk id="15" creationId="{07CBBD6D-7032-4404-9B10-7EA5A7DC582E}"/>
          </ac:spMkLst>
        </pc:spChg>
        <pc:spChg chg="add mod">
          <ac:chgData name="Aurelien Domont" userId="6da7715ce44349b3" providerId="LiveId" clId="{3873675B-E5D3-4C32-8913-7DF0841991F9}" dt="2020-09-24T07:26:20.923" v="292" actId="403"/>
          <ac:spMkLst>
            <pc:docMk/>
            <pc:sldMk cId="3022188194" sldId="1518"/>
            <ac:spMk id="18" creationId="{5714E95A-480E-44A6-9C6B-8E577094B451}"/>
          </ac:spMkLst>
        </pc:spChg>
        <pc:spChg chg="add del mod">
          <ac:chgData name="Aurelien Domont" userId="6da7715ce44349b3" providerId="LiveId" clId="{3873675B-E5D3-4C32-8913-7DF0841991F9}" dt="2020-09-24T07:26:01.930" v="285" actId="478"/>
          <ac:spMkLst>
            <pc:docMk/>
            <pc:sldMk cId="3022188194" sldId="1518"/>
            <ac:spMk id="19" creationId="{2F2D61E4-398F-4269-B507-C30BBB5D6D8F}"/>
          </ac:spMkLst>
        </pc:spChg>
        <pc:spChg chg="add del mod">
          <ac:chgData name="Aurelien Domont" userId="6da7715ce44349b3" providerId="LiveId" clId="{3873675B-E5D3-4C32-8913-7DF0841991F9}" dt="2020-09-24T07:26:27.051" v="294" actId="478"/>
          <ac:spMkLst>
            <pc:docMk/>
            <pc:sldMk cId="3022188194" sldId="1518"/>
            <ac:spMk id="20" creationId="{0CB9EFD2-A59B-4A1B-8E6D-DF3633B72898}"/>
          </ac:spMkLst>
        </pc:spChg>
        <pc:spChg chg="add del mod">
          <ac:chgData name="Aurelien Domont" userId="6da7715ce44349b3" providerId="LiveId" clId="{3873675B-E5D3-4C32-8913-7DF0841991F9}" dt="2020-09-24T07:24:02.854" v="258" actId="478"/>
          <ac:spMkLst>
            <pc:docMk/>
            <pc:sldMk cId="3022188194" sldId="1518"/>
            <ac:spMk id="21" creationId="{CE812983-A827-418A-B49C-BC1281D13EC3}"/>
          </ac:spMkLst>
        </pc:spChg>
        <pc:spChg chg="add mod">
          <ac:chgData name="Aurelien Domont" userId="6da7715ce44349b3" providerId="LiveId" clId="{3873675B-E5D3-4C32-8913-7DF0841991F9}" dt="2020-09-24T07:26:20.923" v="292" actId="403"/>
          <ac:spMkLst>
            <pc:docMk/>
            <pc:sldMk cId="3022188194" sldId="1518"/>
            <ac:spMk id="25" creationId="{31B2B469-6C77-4E8E-913F-4D6148A073AE}"/>
          </ac:spMkLst>
        </pc:spChg>
        <pc:spChg chg="add mod">
          <ac:chgData name="Aurelien Domont" userId="6da7715ce44349b3" providerId="LiveId" clId="{3873675B-E5D3-4C32-8913-7DF0841991F9}" dt="2020-09-24T07:26:20.923" v="292" actId="403"/>
          <ac:spMkLst>
            <pc:docMk/>
            <pc:sldMk cId="3022188194" sldId="1518"/>
            <ac:spMk id="26" creationId="{D547C259-6BD4-4048-86EB-353F61DD9806}"/>
          </ac:spMkLst>
        </pc:spChg>
        <pc:spChg chg="add mod">
          <ac:chgData name="Aurelien Domont" userId="6da7715ce44349b3" providerId="LiveId" clId="{3873675B-E5D3-4C32-8913-7DF0841991F9}" dt="2020-09-24T07:26:20.923" v="292" actId="403"/>
          <ac:spMkLst>
            <pc:docMk/>
            <pc:sldMk cId="3022188194" sldId="1518"/>
            <ac:spMk id="27" creationId="{C1A96B1E-19C8-4270-8560-97DF46F2D829}"/>
          </ac:spMkLst>
        </pc:spChg>
        <pc:spChg chg="add mod">
          <ac:chgData name="Aurelien Domont" userId="6da7715ce44349b3" providerId="LiveId" clId="{3873675B-E5D3-4C32-8913-7DF0841991F9}" dt="2020-09-24T07:26:20.923" v="292" actId="403"/>
          <ac:spMkLst>
            <pc:docMk/>
            <pc:sldMk cId="3022188194" sldId="1518"/>
            <ac:spMk id="28" creationId="{B8523912-61A5-42E0-A4C6-5F91CF46C323}"/>
          </ac:spMkLst>
        </pc:spChg>
        <pc:spChg chg="add mod">
          <ac:chgData name="Aurelien Domont" userId="6da7715ce44349b3" providerId="LiveId" clId="{3873675B-E5D3-4C32-8913-7DF0841991F9}" dt="2020-09-24T07:28:50.533" v="461" actId="208"/>
          <ac:spMkLst>
            <pc:docMk/>
            <pc:sldMk cId="3022188194" sldId="1518"/>
            <ac:spMk id="29" creationId="{E2B7B902-0955-465D-ADB1-78D68C4C6E84}"/>
          </ac:spMkLst>
        </pc:spChg>
        <pc:spChg chg="add mod">
          <ac:chgData name="Aurelien Domont" userId="6da7715ce44349b3" providerId="LiveId" clId="{3873675B-E5D3-4C32-8913-7DF0841991F9}" dt="2020-09-24T07:28:50.533" v="461" actId="208"/>
          <ac:spMkLst>
            <pc:docMk/>
            <pc:sldMk cId="3022188194" sldId="1518"/>
            <ac:spMk id="30" creationId="{1C714F5A-006A-4CFF-B366-1FB2A5B2B3A8}"/>
          </ac:spMkLst>
        </pc:spChg>
        <pc:spChg chg="add mod">
          <ac:chgData name="Aurelien Domont" userId="6da7715ce44349b3" providerId="LiveId" clId="{3873675B-E5D3-4C32-8913-7DF0841991F9}" dt="2020-09-24T07:28:53.373" v="462" actId="208"/>
          <ac:spMkLst>
            <pc:docMk/>
            <pc:sldMk cId="3022188194" sldId="1518"/>
            <ac:spMk id="31" creationId="{249B6312-9B17-4728-855A-91A64BDE2A1C}"/>
          </ac:spMkLst>
        </pc:spChg>
        <pc:spChg chg="add del mod">
          <ac:chgData name="Aurelien Domont" userId="6da7715ce44349b3" providerId="LiveId" clId="{3873675B-E5D3-4C32-8913-7DF0841991F9}" dt="2020-09-24T07:27:13.885" v="299" actId="478"/>
          <ac:spMkLst>
            <pc:docMk/>
            <pc:sldMk cId="3022188194" sldId="1518"/>
            <ac:spMk id="32" creationId="{99243163-E2C5-4241-849D-7CFB781C6806}"/>
          </ac:spMkLst>
        </pc:spChg>
        <pc:spChg chg="add del mod">
          <ac:chgData name="Aurelien Domont" userId="6da7715ce44349b3" providerId="LiveId" clId="{3873675B-E5D3-4C32-8913-7DF0841991F9}" dt="2020-09-24T07:27:13.885" v="299" actId="478"/>
          <ac:spMkLst>
            <pc:docMk/>
            <pc:sldMk cId="3022188194" sldId="1518"/>
            <ac:spMk id="33" creationId="{AD62B763-FF96-4EF7-BEA5-3F64FE0F5026}"/>
          </ac:spMkLst>
        </pc:spChg>
        <pc:spChg chg="add del mod">
          <ac:chgData name="Aurelien Domont" userId="6da7715ce44349b3" providerId="LiveId" clId="{3873675B-E5D3-4C32-8913-7DF0841991F9}" dt="2020-09-24T07:27:13.885" v="299" actId="478"/>
          <ac:spMkLst>
            <pc:docMk/>
            <pc:sldMk cId="3022188194" sldId="1518"/>
            <ac:spMk id="34" creationId="{5962F269-135E-4B78-A3E2-2920F857CD89}"/>
          </ac:spMkLst>
        </pc:spChg>
        <pc:spChg chg="del mod">
          <ac:chgData name="Aurelien Domont" userId="6da7715ce44349b3" providerId="LiveId" clId="{3873675B-E5D3-4C32-8913-7DF0841991F9}" dt="2020-09-24T07:24:02.854" v="258" actId="478"/>
          <ac:spMkLst>
            <pc:docMk/>
            <pc:sldMk cId="3022188194" sldId="1518"/>
            <ac:spMk id="41" creationId="{CDAC5E1B-649F-44B2-9B6A-55DFC5F981F5}"/>
          </ac:spMkLst>
        </pc:spChg>
        <pc:spChg chg="del">
          <ac:chgData name="Aurelien Domont" userId="6da7715ce44349b3" providerId="LiveId" clId="{3873675B-E5D3-4C32-8913-7DF0841991F9}" dt="2020-09-24T07:24:02.854" v="258" actId="478"/>
          <ac:spMkLst>
            <pc:docMk/>
            <pc:sldMk cId="3022188194" sldId="1518"/>
            <ac:spMk id="42" creationId="{30A4BAB1-ECB5-481A-979F-8F991EB2B28D}"/>
          </ac:spMkLst>
        </pc:spChg>
        <pc:picChg chg="del">
          <ac:chgData name="Aurelien Domont" userId="6da7715ce44349b3" providerId="LiveId" clId="{3873675B-E5D3-4C32-8913-7DF0841991F9}" dt="2020-09-24T07:18:37.845" v="23" actId="478"/>
          <ac:picMkLst>
            <pc:docMk/>
            <pc:sldMk cId="3022188194" sldId="1518"/>
            <ac:picMk id="40" creationId="{27542136-C3AF-40E2-B294-B19A0A391709}"/>
          </ac:picMkLst>
        </pc:picChg>
        <pc:cxnChg chg="add del mod">
          <ac:chgData name="Aurelien Domont" userId="6da7715ce44349b3" providerId="LiveId" clId="{3873675B-E5D3-4C32-8913-7DF0841991F9}" dt="2020-09-24T07:25:29.404" v="282" actId="478"/>
          <ac:cxnSpMkLst>
            <pc:docMk/>
            <pc:sldMk cId="3022188194" sldId="1518"/>
            <ac:cxnSpMk id="22" creationId="{83B7F319-1BFF-43B0-81C7-A7B5281A6C73}"/>
          </ac:cxnSpMkLst>
        </pc:cxnChg>
        <pc:cxnChg chg="add del mod">
          <ac:chgData name="Aurelien Domont" userId="6da7715ce44349b3" providerId="LiveId" clId="{3873675B-E5D3-4C32-8913-7DF0841991F9}" dt="2020-09-24T07:26:01.930" v="285" actId="478"/>
          <ac:cxnSpMkLst>
            <pc:docMk/>
            <pc:sldMk cId="3022188194" sldId="1518"/>
            <ac:cxnSpMk id="23" creationId="{ADAAD8E8-AF99-4C8F-BE90-404891EC27F0}"/>
          </ac:cxnSpMkLst>
        </pc:cxnChg>
        <pc:cxnChg chg="add del mod">
          <ac:chgData name="Aurelien Domont" userId="6da7715ce44349b3" providerId="LiveId" clId="{3873675B-E5D3-4C32-8913-7DF0841991F9}" dt="2020-09-24T07:26:04.484" v="286" actId="478"/>
          <ac:cxnSpMkLst>
            <pc:docMk/>
            <pc:sldMk cId="3022188194" sldId="1518"/>
            <ac:cxnSpMk id="24" creationId="{006A32F4-E2FA-44F4-8CA6-C1B00251B25C}"/>
          </ac:cxnSpMkLst>
        </pc:cxnChg>
      </pc:sldChg>
      <pc:sldChg chg="modSp mod">
        <pc:chgData name="Aurelien Domont" userId="6da7715ce44349b3" providerId="LiveId" clId="{3873675B-E5D3-4C32-8913-7DF0841991F9}" dt="2020-09-24T07:18:19.458" v="11" actId="948"/>
        <pc:sldMkLst>
          <pc:docMk/>
          <pc:sldMk cId="2674311003" sldId="1609"/>
        </pc:sldMkLst>
        <pc:spChg chg="mod">
          <ac:chgData name="Aurelien Domont" userId="6da7715ce44349b3" providerId="LiveId" clId="{3873675B-E5D3-4C32-8913-7DF0841991F9}" dt="2020-09-24T07:18:19.458" v="11" actId="948"/>
          <ac:spMkLst>
            <pc:docMk/>
            <pc:sldMk cId="2674311003" sldId="1609"/>
            <ac:spMk id="3" creationId="{5A344048-DBDE-413B-8AF9-F87D45AC158E}"/>
          </ac:spMkLst>
        </pc:spChg>
      </pc:sldChg>
      <pc:sldChg chg="modSp mod">
        <pc:chgData name="Aurelien Domont" userId="6da7715ce44349b3" providerId="LiveId" clId="{3873675B-E5D3-4C32-8913-7DF0841991F9}" dt="2020-09-24T07:30:33.641" v="481" actId="14100"/>
        <pc:sldMkLst>
          <pc:docMk/>
          <pc:sldMk cId="684678840" sldId="1857"/>
        </pc:sldMkLst>
        <pc:spChg chg="mod">
          <ac:chgData name="Aurelien Domont" userId="6da7715ce44349b3" providerId="LiveId" clId="{3873675B-E5D3-4C32-8913-7DF0841991F9}" dt="2020-09-24T07:30:33.641" v="481" actId="14100"/>
          <ac:spMkLst>
            <pc:docMk/>
            <pc:sldMk cId="684678840" sldId="1857"/>
            <ac:spMk id="41" creationId="{CDAC5E1B-649F-44B2-9B6A-55DFC5F981F5}"/>
          </ac:spMkLst>
        </pc:spChg>
        <pc:spChg chg="mod">
          <ac:chgData name="Aurelien Domont" userId="6da7715ce44349b3" providerId="LiveId" clId="{3873675B-E5D3-4C32-8913-7DF0841991F9}" dt="2020-09-24T07:30:30.516" v="480" actId="1035"/>
          <ac:spMkLst>
            <pc:docMk/>
            <pc:sldMk cId="684678840" sldId="1857"/>
            <ac:spMk id="42" creationId="{30A4BAB1-ECB5-481A-979F-8F991EB2B28D}"/>
          </ac:spMkLst>
        </pc:spChg>
      </pc:sldChg>
      <pc:sldChg chg="add">
        <pc:chgData name="Aurelien Domont" userId="6da7715ce44349b3" providerId="LiveId" clId="{3873675B-E5D3-4C32-8913-7DF0841991F9}" dt="2020-09-24T07:16:22.590" v="0"/>
        <pc:sldMkLst>
          <pc:docMk/>
          <pc:sldMk cId="1754585881" sldId="1862"/>
        </pc:sldMkLst>
      </pc:sldChg>
      <pc:sldChg chg="add">
        <pc:chgData name="Aurelien Domont" userId="6da7715ce44349b3" providerId="LiveId" clId="{3873675B-E5D3-4C32-8913-7DF0841991F9}" dt="2020-09-24T07:18:26.641" v="12"/>
        <pc:sldMkLst>
          <pc:docMk/>
          <pc:sldMk cId="2207873510" sldId="18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hyperlink" Target="http://www.domontconsulting.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59744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GB" sz="5400" dirty="0"/>
              <a:t>Letter of intent or Term sheet</a:t>
            </a:r>
            <a:endParaRPr lang="en-US" sz="5400" b="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49299"/>
          </a:xfrm>
        </p:spPr>
        <p:txBody>
          <a:bodyPr lIns="0" tIns="0" rIns="0" bIns="0">
            <a:spAutoFit/>
          </a:bodyPr>
          <a:lstStyle/>
          <a:p>
            <a:r>
              <a:rPr lang="en-US" sz="1800" b="1" dirty="0"/>
              <a:t>Created by Consultants previously from Deloitte, McKinsey &amp; BCG</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2" name="Picture 11">
            <a:hlinkClick r:id="rId6"/>
            <a:extLst>
              <a:ext uri="{FF2B5EF4-FFF2-40B4-BE49-F238E27FC236}">
                <a16:creationId xmlns:a16="http://schemas.microsoft.com/office/drawing/2014/main" id="{4D0EE837-2A44-8DF0-A316-830C996B435B}"/>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GB" sz="2400" dirty="0"/>
              <a:t>What is a Letter of Intent (LOI) in M&amp;A?</a:t>
            </a:r>
            <a:endParaRPr lang="en-US" sz="2400" dirty="0"/>
          </a:p>
        </p:txBody>
      </p:sp>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11" name="TextBox 10">
            <a:extLst>
              <a:ext uri="{FF2B5EF4-FFF2-40B4-BE49-F238E27FC236}">
                <a16:creationId xmlns:a16="http://schemas.microsoft.com/office/drawing/2014/main" id="{F6AA9E43-1446-433E-B75E-0B63C3EC547A}"/>
              </a:ext>
            </a:extLst>
          </p:cNvPr>
          <p:cNvSpPr txBox="1"/>
          <p:nvPr/>
        </p:nvSpPr>
        <p:spPr>
          <a:xfrm>
            <a:off x="592183" y="1602377"/>
            <a:ext cx="10994980" cy="2031325"/>
          </a:xfrm>
          <a:prstGeom prst="rect">
            <a:avLst/>
          </a:prstGeom>
          <a:noFill/>
        </p:spPr>
        <p:txBody>
          <a:bodyPr wrap="square" rtlCol="0">
            <a:spAutoFit/>
          </a:bodyPr>
          <a:lstStyle/>
          <a:p>
            <a:r>
              <a:rPr lang="en-GB" dirty="0"/>
              <a:t>The Letter of Intent or Term Sheet in M&amp;A is a written, non-binding document which outlines an agreement in principle for the buyer to purchase the seller's business, stating the proposed price and terms. The mutually signed LOI is required before the buyer proceeds with the “due diligence” phase of acquisition. Besides detailing the price and payment terms of the transaction, the LOI includes items such as description of the assets to be purchased, any assumed liabilities, the terms of the seller’s non-compete agreement, the timeline for due diligence and closing, a confidentiality provision, and an exclusivity provision, commonly referred to as a “no shop clause.”</a:t>
            </a:r>
            <a:endParaRPr lang="en-US" dirty="0"/>
          </a:p>
        </p:txBody>
      </p:sp>
    </p:spTree>
    <p:extLst>
      <p:ext uri="{BB962C8B-B14F-4D97-AF65-F5344CB8AC3E}">
        <p14:creationId xmlns:p14="http://schemas.microsoft.com/office/powerpoint/2010/main" val="2674311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GB" sz="2400" dirty="0"/>
              <a:t>There are 2 main reasons to enter into an LOI</a:t>
            </a:r>
            <a:endParaRPr lang="en-US" sz="2400" dirty="0"/>
          </a:p>
        </p:txBody>
      </p:sp>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11" name="TextBox 10">
            <a:extLst>
              <a:ext uri="{FF2B5EF4-FFF2-40B4-BE49-F238E27FC236}">
                <a16:creationId xmlns:a16="http://schemas.microsoft.com/office/drawing/2014/main" id="{F6AA9E43-1446-433E-B75E-0B63C3EC547A}"/>
              </a:ext>
            </a:extLst>
          </p:cNvPr>
          <p:cNvSpPr txBox="1"/>
          <p:nvPr/>
        </p:nvSpPr>
        <p:spPr>
          <a:xfrm>
            <a:off x="592183" y="1602377"/>
            <a:ext cx="10994980" cy="2308324"/>
          </a:xfrm>
          <a:prstGeom prst="rect">
            <a:avLst/>
          </a:prstGeom>
          <a:noFill/>
        </p:spPr>
        <p:txBody>
          <a:bodyPr wrap="square" rtlCol="0">
            <a:spAutoFit/>
          </a:bodyPr>
          <a:lstStyle/>
          <a:p>
            <a:r>
              <a:rPr lang="en-GB" dirty="0"/>
              <a:t>Saving time and money by negotiating and putting in writing all the important terms of the transaction while minimizing misunderstandings and conflicts later in the process. Without having a basic understanding of all the terms of the transaction in an LOI, drafting a detailed purchase agreement can be lengthy and difficult. LOIs usually are 6-8 pages in length whereas a purchase agreement is generally much longer.</a:t>
            </a:r>
          </a:p>
          <a:p>
            <a:endParaRPr lang="en-GB" dirty="0"/>
          </a:p>
          <a:p>
            <a:r>
              <a:rPr lang="en-GB" dirty="0"/>
              <a:t>An experienced buyer will not spend considerable time and money proceeding into due diligence, </a:t>
            </a:r>
            <a:r>
              <a:rPr lang="en-GB" dirty="0" err="1"/>
              <a:t>analyzing</a:t>
            </a:r>
            <a:r>
              <a:rPr lang="en-GB" dirty="0"/>
              <a:t> all the information on the company, engaging CPA’s for tax advice and attorneys for drafting purchase documents unless they have an exclusive right to buy the company.</a:t>
            </a:r>
            <a:endParaRPr lang="en-US" dirty="0"/>
          </a:p>
        </p:txBody>
      </p:sp>
    </p:spTree>
    <p:extLst>
      <p:ext uri="{BB962C8B-B14F-4D97-AF65-F5344CB8AC3E}">
        <p14:creationId xmlns:p14="http://schemas.microsoft.com/office/powerpoint/2010/main" val="4079287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GB" sz="2400" dirty="0"/>
              <a:t>Term sheet example</a:t>
            </a:r>
            <a:endParaRPr lang="en-US" sz="2400" dirty="0"/>
          </a:p>
        </p:txBody>
      </p:sp>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pic>
        <p:nvPicPr>
          <p:cNvPr id="4" name="Picture 3">
            <a:extLst>
              <a:ext uri="{FF2B5EF4-FFF2-40B4-BE49-F238E27FC236}">
                <a16:creationId xmlns:a16="http://schemas.microsoft.com/office/drawing/2014/main" id="{9805B06B-7ED0-4E80-902C-E51692C5675C}"/>
              </a:ext>
            </a:extLst>
          </p:cNvPr>
          <p:cNvPicPr>
            <a:picLocks noChangeAspect="1"/>
          </p:cNvPicPr>
          <p:nvPr/>
        </p:nvPicPr>
        <p:blipFill>
          <a:blip r:embed="rId6"/>
          <a:stretch>
            <a:fillRect/>
          </a:stretch>
        </p:blipFill>
        <p:spPr>
          <a:xfrm>
            <a:off x="3226702" y="2318377"/>
            <a:ext cx="6344017" cy="4035737"/>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48EA178E-EC8B-45E3-B0C3-7EB3B218C330}"/>
              </a:ext>
            </a:extLst>
          </p:cNvPr>
          <p:cNvSpPr txBox="1"/>
          <p:nvPr/>
        </p:nvSpPr>
        <p:spPr>
          <a:xfrm>
            <a:off x="2638698" y="1611083"/>
            <a:ext cx="7323908" cy="646331"/>
          </a:xfrm>
          <a:prstGeom prst="rect">
            <a:avLst/>
          </a:prstGeom>
          <a:noFill/>
        </p:spPr>
        <p:txBody>
          <a:bodyPr wrap="square" rtlCol="0">
            <a:spAutoFit/>
          </a:bodyPr>
          <a:lstStyle/>
          <a:p>
            <a:pPr algn="ctr"/>
            <a:r>
              <a:rPr lang="en-US" dirty="0"/>
              <a:t>For more details, open the word document </a:t>
            </a:r>
            <a:r>
              <a:rPr lang="en-GB" dirty="0"/>
              <a:t>“Term Sheet Template between Investor &amp; </a:t>
            </a:r>
            <a:r>
              <a:rPr lang="en-GB" dirty="0" err="1"/>
              <a:t>Startup</a:t>
            </a:r>
            <a:r>
              <a:rPr lang="en-GB" dirty="0"/>
              <a:t>”</a:t>
            </a:r>
            <a:endParaRPr lang="en-US" dirty="0"/>
          </a:p>
        </p:txBody>
      </p:sp>
    </p:spTree>
    <p:extLst>
      <p:ext uri="{BB962C8B-B14F-4D97-AF65-F5344CB8AC3E}">
        <p14:creationId xmlns:p14="http://schemas.microsoft.com/office/powerpoint/2010/main" val="3243212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37</TotalTime>
  <Words>314</Words>
  <Application>Microsoft Office PowerPoint</Application>
  <PresentationFormat>Widescreen</PresentationFormat>
  <Paragraphs>18</Paragraphs>
  <Slides>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Custom Design</vt:lpstr>
      <vt:lpstr>think-cell Slide</vt:lpstr>
      <vt:lpstr>Letter of intent or Term sheet</vt:lpstr>
      <vt:lpstr>What is a Letter of Intent (LOI) in M&amp;A?</vt:lpstr>
      <vt:lpstr>There are 2 main reasons to enter into an LOI</vt:lpstr>
      <vt:lpstr>Term sheet example</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64</cp:revision>
  <dcterms:created xsi:type="dcterms:W3CDTF">2020-07-08T04:44:55Z</dcterms:created>
  <dcterms:modified xsi:type="dcterms:W3CDTF">2023-01-30T05:29:3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